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3"/>
  </p:sldMasterIdLst>
  <p:notesMasterIdLst>
    <p:notesMasterId r:id="rId15"/>
  </p:notesMasterIdLst>
  <p:sldIdLst>
    <p:sldId id="346" r:id="rId4"/>
    <p:sldId id="347" r:id="rId5"/>
    <p:sldId id="354" r:id="rId6"/>
    <p:sldId id="349" r:id="rId7"/>
    <p:sldId id="348" r:id="rId8"/>
    <p:sldId id="350" r:id="rId9"/>
    <p:sldId id="352" r:id="rId10"/>
    <p:sldId id="355" r:id="rId11"/>
    <p:sldId id="357" r:id="rId12"/>
    <p:sldId id="356" r:id="rId13"/>
    <p:sldId id="360" r:id="rId14"/>
  </p:sldIdLst>
  <p:sldSz cx="9144000" cy="6858000" type="screen4x3"/>
  <p:notesSz cx="7315200" cy="96012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6E6"/>
    <a:srgbClr val="925700"/>
    <a:srgbClr val="CC7A00"/>
    <a:srgbClr val="14385C"/>
    <a:srgbClr val="899BAD"/>
    <a:srgbClr val="042A45"/>
    <a:srgbClr val="042A43"/>
    <a:srgbClr val="D27D00"/>
    <a:srgbClr val="25629F"/>
    <a:srgbClr val="FAFA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662" autoAdjust="0"/>
    <p:restoredTop sz="94673" autoAdjust="0"/>
  </p:normalViewPr>
  <p:slideViewPr>
    <p:cSldViewPr showGuides="1">
      <p:cViewPr>
        <p:scale>
          <a:sx n="81" d="100"/>
          <a:sy n="81" d="100"/>
        </p:scale>
        <p:origin x="-1320" y="-72"/>
      </p:cViewPr>
      <p:guideLst>
        <p:guide orient="horz" pos="672"/>
        <p:guide orient="horz" pos="3936"/>
        <p:guide pos="217"/>
        <p:guide pos="5568"/>
        <p:guide pos="143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7016" tIns="48508" rIns="97016" bIns="48508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7016" tIns="48508" rIns="97016" bIns="48508" rtlCol="0"/>
          <a:lstStyle>
            <a:lvl1pPr algn="r">
              <a:defRPr sz="1200"/>
            </a:lvl1pPr>
          </a:lstStyle>
          <a:p>
            <a:fld id="{7A790463-911A-4750-AD2E-671879DD54F4}" type="datetimeFigureOut">
              <a:rPr lang="en-US" smtClean="0"/>
              <a:pPr/>
              <a:t>3/3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7300" y="719138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7016" tIns="48508" rIns="97016" bIns="48508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7016" tIns="48508" rIns="97016" bIns="48508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7016" tIns="48508" rIns="97016" bIns="48508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5"/>
            <a:ext cx="3169920" cy="480060"/>
          </a:xfrm>
          <a:prstGeom prst="rect">
            <a:avLst/>
          </a:prstGeom>
        </p:spPr>
        <p:txBody>
          <a:bodyPr vert="horz" lIns="97016" tIns="48508" rIns="97016" bIns="48508" rtlCol="0" anchor="b"/>
          <a:lstStyle>
            <a:lvl1pPr algn="r">
              <a:defRPr sz="1200"/>
            </a:lvl1pPr>
          </a:lstStyle>
          <a:p>
            <a:fld id="{09541898-D043-4569-A9A6-59B778BECE0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8243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29820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1.xml"/><Relationship Id="rId7" Type="http://schemas.openxmlformats.org/officeDocument/2006/relationships/image" Target="../media/image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74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81010" y="3657600"/>
            <a:ext cx="3862390" cy="1409700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1010" y="5286374"/>
            <a:ext cx="3862390" cy="581026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93738"/>
            <a:ext cx="9144000" cy="8642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457200" y="5181600"/>
            <a:ext cx="38862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626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93738"/>
            <a:ext cx="9144000" cy="8642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81009" y="3862388"/>
            <a:ext cx="5100433" cy="1057275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1009" y="5045869"/>
            <a:ext cx="5133855" cy="592931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57200" y="4948238"/>
            <a:ext cx="48006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1pPr>
            <a:lvl2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2pPr>
            <a:lvl3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3pPr>
            <a:lvl4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4pPr>
            <a:lvl5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0" y="6578600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0" y="6578600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0" y="6578600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Footer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92906"/>
            <a:ext cx="9144000" cy="565094"/>
          </a:xfrm>
          <a:prstGeom prst="rect">
            <a:avLst/>
          </a:prstGeom>
        </p:spPr>
      </p:pic>
      <p:pic>
        <p:nvPicPr>
          <p:cNvPr id="4" name="Picture 3" descr="Header.pn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31576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98" name="think-cell Slide" r:id="rId15" imgW="0" imgH="0" progId="">
                  <p:embed/>
                </p:oleObj>
              </mc:Choice>
              <mc:Fallback>
                <p:oleObj name="think-cell Slide" r:id="rId15" imgW="0" imgH="0" progId="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>
            <p:custDataLst>
              <p:tags r:id="rId9"/>
            </p:custDataLst>
          </p:nvPr>
        </p:nvSpPr>
        <p:spPr>
          <a:xfrm>
            <a:off x="8886825" y="6579399"/>
            <a:ext cx="257175" cy="190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 bwMode="gray">
          <a:xfrm>
            <a:off x="304800" y="76200"/>
            <a:ext cx="8353425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33375" y="1066800"/>
            <a:ext cx="8477250" cy="5181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12"/>
            </p:custDataLst>
          </p:nvPr>
        </p:nvSpPr>
        <p:spPr>
          <a:xfrm>
            <a:off x="8870949" y="6582395"/>
            <a:ext cx="211057" cy="18750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indent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4" r:id="rId4"/>
    <p:sldLayoutId id="2147483655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marL="0" algn="l" defTabSz="914400" rtl="0" eaLnBrk="1" latinLnBrk="0" hangingPunct="1">
        <a:lnSpc>
          <a:spcPct val="100000"/>
        </a:lnSpc>
        <a:spcBef>
          <a:spcPct val="0"/>
        </a:spcBef>
        <a:buNone/>
        <a:defRPr lang="en-US" sz="2400" b="0" kern="1200" dirty="0" smtClean="0">
          <a:solidFill>
            <a:schemeClr val="bg1"/>
          </a:solidFill>
          <a:effectLst/>
          <a:latin typeface="Franklin Gothic Demi" pitchFamily="34" charset="0"/>
          <a:ea typeface="+mn-ea"/>
          <a:cs typeface="Arial" pitchFamily="34" charset="0"/>
        </a:defRPr>
      </a:lvl1pPr>
    </p:titleStyle>
    <p:bodyStyle>
      <a:lvl1pPr marL="230188" indent="-230188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24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1pPr>
      <a:lvl2pPr marL="514350" indent="-230188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–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2pPr>
      <a:lvl3pPr marL="74295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3pPr>
      <a:lvl4pPr marL="97155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–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4pPr>
      <a:lvl5pPr marL="114300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»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2.emf"/><Relationship Id="rId4" Type="http://schemas.openxmlformats.org/officeDocument/2006/relationships/image" Target="../media/image11.emf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hyperlink" Target="http://www.txdot.gov/apps/statewide_mapping/collect/index.%20html" TargetMode="Externa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hyperlink" Target="http://arcg.is/1F9mgwY" TargetMode="Externa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Guardrail End </a:t>
            </a:r>
            <a:r>
              <a:rPr lang="en-US" dirty="0" smtClean="0"/>
              <a:t>Treatmen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Data Collection</a:t>
            </a:r>
          </a:p>
        </p:txBody>
      </p:sp>
      <p:pic>
        <p:nvPicPr>
          <p:cNvPr id="4" name="Picture 8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1" t="30400" b="3359"/>
          <a:stretch/>
        </p:blipFill>
        <p:spPr bwMode="auto">
          <a:xfrm>
            <a:off x="5681708" y="2057400"/>
            <a:ext cx="3191783" cy="3199936"/>
          </a:xfrm>
          <a:prstGeom prst="rect">
            <a:avLst/>
          </a:prstGeom>
          <a:noFill/>
          <a:ln w="9525" cmpd="sng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\\raapp3\O\Image Library 4\Construction\LBJ Freeway\KBS 2013\CstLBJ_129.jpg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34" t="11795" r="8235" b="28594"/>
          <a:stretch/>
        </p:blipFill>
        <p:spPr>
          <a:xfrm>
            <a:off x="3124939" y="2057400"/>
            <a:ext cx="2541613" cy="1173516"/>
          </a:xfrm>
          <a:prstGeom prst="rect">
            <a:avLst/>
          </a:prstGeom>
          <a:ln>
            <a:solidFill>
              <a:srgbClr val="FFFFFF"/>
            </a:solidFill>
          </a:ln>
        </p:spPr>
      </p:pic>
      <p:pic>
        <p:nvPicPr>
          <p:cNvPr id="6" name="Picture 5" descr="IH35-US290_01.jpe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74" t="6287" r="1445" b="3826"/>
          <a:stretch/>
        </p:blipFill>
        <p:spPr>
          <a:xfrm>
            <a:off x="1197552" y="2057400"/>
            <a:ext cx="1910676" cy="1178043"/>
          </a:xfrm>
          <a:prstGeom prst="rect">
            <a:avLst/>
          </a:prstGeom>
        </p:spPr>
      </p:pic>
      <p:pic>
        <p:nvPicPr>
          <p:cNvPr id="7" name="Picture 6" descr="W7thS_179.jpg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56" t="10404" r="9997" b="8898"/>
          <a:stretch/>
        </p:blipFill>
        <p:spPr>
          <a:xfrm>
            <a:off x="483313" y="2062229"/>
            <a:ext cx="709409" cy="1166402"/>
          </a:xfrm>
          <a:prstGeom prst="rect">
            <a:avLst/>
          </a:prstGeom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899375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ults Map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0</a:t>
            </a:fld>
            <a:endParaRPr lang="en-US" dirty="0"/>
          </a:p>
        </p:txBody>
      </p:sp>
      <p:pic>
        <p:nvPicPr>
          <p:cNvPr id="5" name="Content Placeholder 4" descr="C:\TxDOT\Scripts\javascript\Guardrail\Snake\QC\Analysis\Get_StatusImage.jpg"/>
          <p:cNvPicPr>
            <a:picLocks noGrp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762000"/>
            <a:ext cx="7768695" cy="54102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779323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PP Tea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ransportation Planning and Programming Team</a:t>
            </a:r>
          </a:p>
          <a:p>
            <a:pPr lvl="1"/>
            <a:endParaRPr lang="en-US" dirty="0" smtClean="0"/>
          </a:p>
          <a:p>
            <a:pPr lvl="1"/>
            <a:r>
              <a:rPr lang="en-US" dirty="0"/>
              <a:t>Michael Chamberlain – Data Management Section </a:t>
            </a:r>
            <a:r>
              <a:rPr lang="en-US" dirty="0" smtClean="0"/>
              <a:t>Director</a:t>
            </a:r>
          </a:p>
          <a:p>
            <a:pPr lvl="1"/>
            <a:r>
              <a:rPr lang="en-US" dirty="0"/>
              <a:t>Mike </a:t>
            </a:r>
            <a:r>
              <a:rPr lang="en-US" dirty="0" err="1"/>
              <a:t>Zugelder</a:t>
            </a:r>
            <a:r>
              <a:rPr lang="en-US" dirty="0"/>
              <a:t> – GIS and Data Analysis Branch </a:t>
            </a:r>
            <a:r>
              <a:rPr lang="en-US" dirty="0" smtClean="0"/>
              <a:t>Manager</a:t>
            </a:r>
            <a:endParaRPr lang="en-US" dirty="0" smtClean="0"/>
          </a:p>
          <a:p>
            <a:pPr lvl="1"/>
            <a:r>
              <a:rPr lang="en-US" dirty="0"/>
              <a:t>Adam </a:t>
            </a:r>
            <a:r>
              <a:rPr lang="en-US" dirty="0" err="1"/>
              <a:t>Breznicky</a:t>
            </a:r>
            <a:r>
              <a:rPr lang="en-US" dirty="0"/>
              <a:t> – GIS Analyst II</a:t>
            </a:r>
          </a:p>
          <a:p>
            <a:pPr lvl="1"/>
            <a:r>
              <a:rPr lang="en-US" dirty="0"/>
              <a:t>Chris Bardash – GIS Analyst </a:t>
            </a:r>
            <a:r>
              <a:rPr lang="en-US" dirty="0" smtClean="0"/>
              <a:t>II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67370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urpos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2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idx="1"/>
          </p:nvPr>
        </p:nvSpPr>
        <p:spPr>
          <a:xfrm>
            <a:off x="533400" y="1066800"/>
            <a:ext cx="7848601" cy="5181600"/>
          </a:xfrm>
        </p:spPr>
        <p:txBody>
          <a:bodyPr>
            <a:normAutofit/>
          </a:bodyPr>
          <a:lstStyle/>
          <a:p>
            <a:pPr>
              <a:spcBef>
                <a:spcPts val="600"/>
              </a:spcBef>
            </a:pPr>
            <a:r>
              <a:rPr lang="en-US" sz="2800" dirty="0"/>
              <a:t>Collect GPS locations and guardrail end treatment types (along on-system roadways) in order to determine the total number of each treatment type.  </a:t>
            </a:r>
            <a:endParaRPr lang="en-US" sz="2800" dirty="0" smtClean="0"/>
          </a:p>
          <a:p>
            <a:pPr>
              <a:spcBef>
                <a:spcPts val="600"/>
              </a:spcBef>
            </a:pPr>
            <a:r>
              <a:rPr lang="en-US" sz="2800" dirty="0" smtClean="0"/>
              <a:t>Establish </a:t>
            </a:r>
            <a:r>
              <a:rPr lang="en-US" sz="2800" dirty="0"/>
              <a:t>an inventory for long-term management of this asset.</a:t>
            </a:r>
          </a:p>
          <a:p>
            <a:pPr>
              <a:lnSpc>
                <a:spcPct val="150000"/>
              </a:lnSpc>
            </a:pP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273410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ject Rol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066800"/>
            <a:ext cx="8277224" cy="5181600"/>
          </a:xfrm>
        </p:spPr>
        <p:txBody>
          <a:bodyPr>
            <a:normAutofit/>
          </a:bodyPr>
          <a:lstStyle/>
          <a:p>
            <a:r>
              <a:rPr lang="en-US" sz="2400" dirty="0" smtClean="0"/>
              <a:t>TPP</a:t>
            </a:r>
          </a:p>
          <a:p>
            <a:pPr lvl="1"/>
            <a:r>
              <a:rPr lang="en-US" dirty="0" smtClean="0"/>
              <a:t>Workspace, Data Collection Framework, Map, SharePoint</a:t>
            </a:r>
          </a:p>
          <a:p>
            <a:pPr lvl="1"/>
            <a:endParaRPr lang="en-US" dirty="0"/>
          </a:p>
          <a:p>
            <a:r>
              <a:rPr lang="en-US" sz="2400" dirty="0" smtClean="0"/>
              <a:t>District Maintenance Section Personnel</a:t>
            </a:r>
          </a:p>
          <a:p>
            <a:pPr lvl="1"/>
            <a:r>
              <a:rPr lang="en-US" dirty="0" smtClean="0"/>
              <a:t>Data Collection and Reporting</a:t>
            </a:r>
          </a:p>
          <a:p>
            <a:pPr marL="284162" lvl="1" indent="0">
              <a:buNone/>
            </a:pPr>
            <a:endParaRPr lang="en-US" dirty="0"/>
          </a:p>
          <a:p>
            <a:r>
              <a:rPr lang="en-US" sz="2400" dirty="0" smtClean="0"/>
              <a:t>Design and Maintenance Divisions</a:t>
            </a:r>
          </a:p>
          <a:p>
            <a:pPr lvl="1"/>
            <a:r>
              <a:rPr lang="en-US" dirty="0" smtClean="0"/>
              <a:t>Subject Matter Experts, Organization, Suppor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7269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nd Treatment Exampl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4</a:t>
            </a:fld>
            <a:endParaRPr lang="en-US" dirty="0"/>
          </a:p>
        </p:txBody>
      </p:sp>
      <p:pic>
        <p:nvPicPr>
          <p:cNvPr id="5" name="Picture 4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465" y="1295400"/>
            <a:ext cx="2371725" cy="1538605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Box 7"/>
          <p:cNvSpPr txBox="1"/>
          <p:nvPr/>
        </p:nvSpPr>
        <p:spPr>
          <a:xfrm>
            <a:off x="596265" y="929006"/>
            <a:ext cx="1143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ET PLUS</a:t>
            </a:r>
            <a:endParaRPr lang="en-US" sz="1200" dirty="0"/>
          </a:p>
          <a:p>
            <a:endParaRPr lang="en-US" sz="1200" dirty="0" err="1" smtClean="0"/>
          </a:p>
        </p:txBody>
      </p:sp>
      <p:sp>
        <p:nvSpPr>
          <p:cNvPr id="10" name="TextBox 9"/>
          <p:cNvSpPr txBox="1"/>
          <p:nvPr/>
        </p:nvSpPr>
        <p:spPr>
          <a:xfrm>
            <a:off x="672465" y="3155315"/>
            <a:ext cx="1143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ET 2000</a:t>
            </a:r>
            <a:endParaRPr lang="en-US" sz="1200" dirty="0"/>
          </a:p>
          <a:p>
            <a:endParaRPr lang="en-US" sz="1200" dirty="0" err="1" smtClean="0"/>
          </a:p>
        </p:txBody>
      </p:sp>
      <p:pic>
        <p:nvPicPr>
          <p:cNvPr id="11" name="Picture 10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465" y="3460115"/>
            <a:ext cx="2543175" cy="1797685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Picture 12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0" y="1295399"/>
            <a:ext cx="2057400" cy="1538605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TextBox 13"/>
          <p:cNvSpPr txBox="1"/>
          <p:nvPr/>
        </p:nvSpPr>
        <p:spPr>
          <a:xfrm>
            <a:off x="3774643" y="929006"/>
            <a:ext cx="1143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X-LITE</a:t>
            </a:r>
            <a:endParaRPr lang="en-US" sz="1200" dirty="0"/>
          </a:p>
          <a:p>
            <a:endParaRPr lang="en-US" sz="1200" dirty="0" err="1" smtClean="0"/>
          </a:p>
        </p:txBody>
      </p:sp>
      <p:pic>
        <p:nvPicPr>
          <p:cNvPr id="15" name="Picture 14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1" y="3460115"/>
            <a:ext cx="2362200" cy="1797685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TextBox 15"/>
          <p:cNvSpPr txBox="1"/>
          <p:nvPr/>
        </p:nvSpPr>
        <p:spPr>
          <a:xfrm>
            <a:off x="3810001" y="3156560"/>
            <a:ext cx="1143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Turndown</a:t>
            </a:r>
            <a:endParaRPr lang="en-US" sz="1200" dirty="0"/>
          </a:p>
          <a:p>
            <a:endParaRPr lang="en-US" sz="1200" dirty="0" err="1" smtClean="0"/>
          </a:p>
        </p:txBody>
      </p:sp>
    </p:spTree>
    <p:extLst>
      <p:ext uri="{BB962C8B-B14F-4D97-AF65-F5344CB8AC3E}">
        <p14:creationId xmlns:p14="http://schemas.microsoft.com/office/powerpoint/2010/main" val="42428330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harePoint Route Planning &amp; Tracking Sit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5</a:t>
            </a:fld>
            <a:endParaRPr lang="en-US" dirty="0"/>
          </a:p>
        </p:txBody>
      </p:sp>
      <p:pic>
        <p:nvPicPr>
          <p:cNvPr id="5" name="Picture 4"/>
          <p:cNvPicPr/>
          <p:nvPr/>
        </p:nvPicPr>
        <p:blipFill>
          <a:blip r:embed="rId2"/>
          <a:stretch>
            <a:fillRect/>
          </a:stretch>
        </p:blipFill>
        <p:spPr>
          <a:xfrm>
            <a:off x="1371600" y="838200"/>
            <a:ext cx="6400800" cy="52578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266735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martphone Data Collec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762000"/>
            <a:ext cx="5486400" cy="533400"/>
          </a:xfrm>
        </p:spPr>
        <p:txBody>
          <a:bodyPr>
            <a:normAutofit fontScale="70000" lnSpcReduction="20000"/>
          </a:bodyPr>
          <a:lstStyle/>
          <a:p>
            <a:r>
              <a:rPr lang="en-US" dirty="0">
                <a:hlinkClick r:id="rId2"/>
              </a:rPr>
              <a:t>http://www.txdot.gov/apps/statewide_mapping/collect/index. html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6</a:t>
            </a:fld>
            <a:endParaRPr lang="en-US" dirty="0"/>
          </a:p>
        </p:txBody>
      </p:sp>
      <p:pic>
        <p:nvPicPr>
          <p:cNvPr id="15257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8800" y="1066800"/>
            <a:ext cx="5553075" cy="516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72385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rcGIS Online Map – Real Time Quality Contro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5275" y="914400"/>
            <a:ext cx="8477250" cy="5181600"/>
          </a:xfrm>
        </p:spPr>
        <p:txBody>
          <a:bodyPr/>
          <a:lstStyle/>
          <a:p>
            <a:r>
              <a:rPr lang="en-US" u="sng" dirty="0">
                <a:hlinkClick r:id="rId2"/>
              </a:rPr>
              <a:t>http://arcg.is/1F9mgwY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7</a:t>
            </a:fld>
            <a:endParaRPr lang="en-US" dirty="0"/>
          </a:p>
        </p:txBody>
      </p:sp>
      <p:pic>
        <p:nvPicPr>
          <p:cNvPr id="5" name="Picture 4"/>
          <p:cNvPicPr/>
          <p:nvPr/>
        </p:nvPicPr>
        <p:blipFill>
          <a:blip r:embed="rId3"/>
          <a:stretch>
            <a:fillRect/>
          </a:stretch>
        </p:blipFill>
        <p:spPr>
          <a:xfrm>
            <a:off x="1219200" y="1524000"/>
            <a:ext cx="6629400" cy="46482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2920327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ul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 smtClean="0"/>
              <a:t>General Statistics</a:t>
            </a:r>
          </a:p>
          <a:p>
            <a:pPr lvl="1"/>
            <a:r>
              <a:rPr lang="en-US" dirty="0" smtClean="0"/>
              <a:t>Start Date: May 19</a:t>
            </a:r>
            <a:r>
              <a:rPr lang="en-US" baseline="30000" dirty="0" smtClean="0"/>
              <a:t>th</a:t>
            </a:r>
            <a:r>
              <a:rPr lang="en-US" dirty="0" smtClean="0"/>
              <a:t> 		</a:t>
            </a:r>
          </a:p>
          <a:p>
            <a:pPr lvl="1"/>
            <a:r>
              <a:rPr lang="en-US" dirty="0" smtClean="0"/>
              <a:t>End Date: June 30th</a:t>
            </a:r>
          </a:p>
          <a:p>
            <a:pPr lvl="1"/>
            <a:r>
              <a:rPr lang="en-US" dirty="0" smtClean="0"/>
              <a:t>Project Duration: 30 working days</a:t>
            </a:r>
          </a:p>
          <a:p>
            <a:pPr lvl="1"/>
            <a:r>
              <a:rPr lang="en-US" dirty="0" smtClean="0"/>
              <a:t>Average Collection Speed:  35 mph</a:t>
            </a:r>
          </a:p>
          <a:p>
            <a:pPr lvl="1"/>
            <a:r>
              <a:rPr lang="en-US" dirty="0" smtClean="0"/>
              <a:t>Average Accuracy Rating: 26 </a:t>
            </a:r>
            <a:r>
              <a:rPr lang="en-US" dirty="0" err="1" smtClean="0"/>
              <a:t>ft</a:t>
            </a:r>
            <a:endParaRPr lang="en-US" dirty="0" smtClean="0"/>
          </a:p>
          <a:p>
            <a:pPr lvl="1"/>
            <a:r>
              <a:rPr lang="en-US" dirty="0" smtClean="0"/>
              <a:t>Most common Device: iPhone</a:t>
            </a:r>
          </a:p>
          <a:p>
            <a:pPr lvl="2"/>
            <a:endParaRPr lang="en-US" dirty="0" smtClean="0"/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Most GET points collected in a day: 10,801 (June 9</a:t>
            </a:r>
            <a:r>
              <a:rPr lang="en-US" baseline="30000" dirty="0" smtClean="0"/>
              <a:t>th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8</a:t>
            </a:fld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794285"/>
              </p:ext>
            </p:extLst>
          </p:nvPr>
        </p:nvGraphicFramePr>
        <p:xfrm>
          <a:off x="1676400" y="4267200"/>
          <a:ext cx="2235200" cy="77114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990600"/>
                <a:gridCol w="1244600"/>
              </a:tblGrid>
              <a:tr h="18859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Device</a:t>
                      </a:r>
                      <a:endParaRPr lang="en-US" sz="12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# GETs Collected</a:t>
                      </a:r>
                      <a:endParaRPr lang="en-US" sz="12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/>
                </a:tc>
              </a:tr>
              <a:tr h="18859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Android</a:t>
                      </a:r>
                      <a:endParaRPr lang="en-US" sz="12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13,557</a:t>
                      </a:r>
                      <a:endParaRPr lang="en-US" sz="12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/>
                </a:tc>
              </a:tr>
              <a:tr h="18859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iPad</a:t>
                      </a:r>
                      <a:endParaRPr lang="en-US" sz="12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18,155</a:t>
                      </a:r>
                      <a:endParaRPr lang="en-US" sz="12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/>
                </a:tc>
              </a:tr>
              <a:tr h="18859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iPhone</a:t>
                      </a:r>
                      <a:endParaRPr lang="en-US" sz="12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102,280</a:t>
                      </a:r>
                      <a:endParaRPr lang="en-US" sz="12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71342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istrict Type Totals Summary</a:t>
            </a:r>
            <a:endParaRPr lang="en-US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12741728"/>
              </p:ext>
            </p:extLst>
          </p:nvPr>
        </p:nvGraphicFramePr>
        <p:xfrm>
          <a:off x="457200" y="914400"/>
          <a:ext cx="8300303" cy="518159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227870"/>
                <a:gridCol w="794716"/>
                <a:gridCol w="829609"/>
                <a:gridCol w="829609"/>
                <a:gridCol w="829609"/>
                <a:gridCol w="984221"/>
                <a:gridCol w="1162295"/>
                <a:gridCol w="812765"/>
                <a:gridCol w="829609"/>
              </a:tblGrid>
              <a:tr h="19191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District</a:t>
                      </a:r>
                      <a:endParaRPr lang="en-US" sz="11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ETPLUS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ET2000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OTHER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SKT350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SOFTSTOP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TURNDOWN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XLITE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TOTAL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</a:tr>
              <a:tr h="19191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Abilene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521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260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344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,355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2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2,578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4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5,064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</a:tr>
              <a:tr h="19191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Amarillo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681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660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44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273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3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,623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2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3,296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</a:tr>
              <a:tr h="19191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Atlanta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,933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254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79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761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,349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2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4,479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</a:tr>
              <a:tr h="19191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Austin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3,630</a:t>
                      </a:r>
                      <a:endParaRPr lang="en-US" sz="11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355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,182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2,947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8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4,154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45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2,321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</a:tr>
              <a:tr h="19191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Beaumont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,437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477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36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362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0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,178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3,596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</a:tr>
              <a:tr h="19191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Brownwood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577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86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44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574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,677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2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2,971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</a:tr>
              <a:tr h="19191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Bryan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,688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504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94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484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0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,985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57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4,812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</a:tr>
              <a:tr h="19191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Childress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531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203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386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267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0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659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0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2,046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</a:tr>
              <a:tr h="19191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Corpus Christi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,469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397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333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730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3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,551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2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4,485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</a:tr>
              <a:tr h="19191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Dallas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5,409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,792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888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349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22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3,846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51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2,457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</a:tr>
              <a:tr h="19191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El Paso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,022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300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454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886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239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,650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26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4,577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</a:tr>
              <a:tr h="19191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Fort Worth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3,198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654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242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280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1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4,225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54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8,764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</a:tr>
              <a:tr h="19191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Houston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4,051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,194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322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848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2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2,525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52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8,994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</a:tr>
              <a:tr h="19191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Laredo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783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389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77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,118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2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,204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3,574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</a:tr>
              <a:tr h="19191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Lubbock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320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590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51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538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0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723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30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2,352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</a:tr>
              <a:tr h="19191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Lufkin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2,331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75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18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346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36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982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57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3,945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</a:tr>
              <a:tr h="19191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Odessa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64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354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272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559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,397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6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2,753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</a:tr>
              <a:tr h="19191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Paris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,851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645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398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738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5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2,285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47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5,969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</a:tr>
              <a:tr h="19191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Pharr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,063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435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79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405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2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774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9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2,767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</a:tr>
              <a:tr h="19191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San Angelo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922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278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57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693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2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,999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4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3,965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</a:tr>
              <a:tr h="19191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San Antonio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2,948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,157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428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,905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3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6,119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7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2,577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</a:tr>
              <a:tr h="19191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Tyler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,966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307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248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285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5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,742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3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4,566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</a:tr>
              <a:tr h="19191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Waco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2,789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569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481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633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8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,062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42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5,584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</a:tr>
              <a:tr h="19191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Wichita Falls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880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55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207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608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,514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69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3,434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</a:tr>
              <a:tr h="19191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Yoakum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,451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632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251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573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5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,706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26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4,644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</a:tr>
              <a:tr h="19191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Statewide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</a:rPr>
                        <a:t>43,615</a:t>
                      </a:r>
                      <a:endParaRPr lang="en-US" sz="1100" b="1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</a:rPr>
                        <a:t>12,722</a:t>
                      </a:r>
                      <a:endParaRPr lang="en-US" sz="1100" b="1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</a:rPr>
                        <a:t>7,415</a:t>
                      </a:r>
                      <a:endParaRPr lang="en-US" sz="1100" b="1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</a:rPr>
                        <a:t>18,517</a:t>
                      </a:r>
                      <a:endParaRPr lang="en-US" sz="1100" b="1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</a:rPr>
                        <a:t>362</a:t>
                      </a:r>
                      <a:endParaRPr lang="en-US" sz="1100" b="1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</a:rPr>
                        <a:t>50,507</a:t>
                      </a:r>
                      <a:endParaRPr lang="en-US" sz="1100" b="1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</a:rPr>
                        <a:t>854</a:t>
                      </a:r>
                      <a:endParaRPr lang="en-US" sz="1100" b="1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</a:rPr>
                        <a:t>133,992</a:t>
                      </a:r>
                      <a:endParaRPr lang="en-US" sz="1100" b="1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4973" marR="64973" marT="0" marB="0" anchor="b"/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44547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8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kN5a.s0eIRQ1VajZe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1_nFA840OlZ.4Wz9Rl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UdFQdb3k6Pf0.tJe3aj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ZozDRwkUKmrwVY015d7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heme/theme1.xml><?xml version="1.0" encoding="utf-8"?>
<a:theme xmlns:a="http://schemas.openxmlformats.org/drawingml/2006/main" name="MASTER_powerpoint_template">
  <a:themeElements>
    <a:clrScheme name="Custom 7">
      <a:dk1>
        <a:sysClr val="windowText" lastClr="000000"/>
      </a:dk1>
      <a:lt1>
        <a:sysClr val="window" lastClr="FFFFFF"/>
      </a:lt1>
      <a:dk2>
        <a:srgbClr val="E2E7EB"/>
      </a:dk2>
      <a:lt2>
        <a:srgbClr val="F9EFE0"/>
      </a:lt2>
      <a:accent1>
        <a:srgbClr val="0A1B2B"/>
      </a:accent1>
      <a:accent2>
        <a:srgbClr val="14385C"/>
      </a:accent2>
      <a:accent3>
        <a:srgbClr val="899BAD"/>
      </a:accent3>
      <a:accent4>
        <a:srgbClr val="925700"/>
      </a:accent4>
      <a:accent5>
        <a:srgbClr val="CC7A00"/>
      </a:accent5>
      <a:accent6>
        <a:srgbClr val="E5BC7F"/>
      </a:accent6>
      <a:hlink>
        <a:srgbClr val="042A45"/>
      </a:hlink>
      <a:folHlink>
        <a:srgbClr val="4D4D4D"/>
      </a:folHlink>
    </a:clrScheme>
    <a:fontScheme name="Custom 1">
      <a:majorFont>
        <a:latin typeface="Franklin Gothic Medium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 err="1" smtClean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EsriMapsInfo xmlns="ESRI.ArcGIS.Mapping.OfficeIntegration.PowerPointInfo">
  <Version>Version1</Version>
  <RequiresSignIn>False</RequiresSignIn>
</EsriMapsInfo>
</file>

<file path=customXml/item2.xml><?xml version="1.0" encoding="utf-8"?>
<EsriMapsInfo xmlns="ESRI.ArcGIS.Mapping.OfficeIntegration.PowerPointInfo">
  <Version>Version1</Version>
  <RequiresSignIn>False</RequiresSignIn>
</EsriMapsInfo>
</file>

<file path=customXml/itemProps1.xml><?xml version="1.0" encoding="utf-8"?>
<ds:datastoreItem xmlns:ds="http://schemas.openxmlformats.org/officeDocument/2006/customXml" ds:itemID="{133C832A-2F88-4F63-9462-5D40F7C1F19E}">
  <ds:schemaRefs>
    <ds:schemaRef ds:uri="ESRI.ArcGIS.Mapping.OfficeIntegration.PowerPointInfo"/>
  </ds:schemaRefs>
</ds:datastoreItem>
</file>

<file path=customXml/itemProps2.xml><?xml version="1.0" encoding="utf-8"?>
<ds:datastoreItem xmlns:ds="http://schemas.openxmlformats.org/officeDocument/2006/customXml" ds:itemID="{DA3E1301-FC07-4FD7-AB74-F0E50AB02268}">
  <ds:schemaRefs>
    <ds:schemaRef ds:uri="ESRI.ArcGIS.Mapping.OfficeIntegration.PowerPointInfo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ASTER_powerpoint_template</Template>
  <TotalTime>1374</TotalTime>
  <Words>425</Words>
  <Application>Microsoft Office PowerPoint</Application>
  <PresentationFormat>On-screen Show (4:3)</PresentationFormat>
  <Paragraphs>306</Paragraphs>
  <Slides>11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3" baseType="lpstr">
      <vt:lpstr>MASTER_powerpoint_template</vt:lpstr>
      <vt:lpstr>think-cell Slide</vt:lpstr>
      <vt:lpstr>Guardrail End Treatment</vt:lpstr>
      <vt:lpstr>Purpose</vt:lpstr>
      <vt:lpstr>Project Roles</vt:lpstr>
      <vt:lpstr>End Treatment Examples</vt:lpstr>
      <vt:lpstr>SharePoint Route Planning &amp; Tracking Site</vt:lpstr>
      <vt:lpstr>Smartphone Data Collection</vt:lpstr>
      <vt:lpstr>ArcGIS Online Map – Real Time Quality Control</vt:lpstr>
      <vt:lpstr>Results</vt:lpstr>
      <vt:lpstr>District Type Totals Summary</vt:lpstr>
      <vt:lpstr>Results Map</vt:lpstr>
      <vt:lpstr>TPP Team</vt:lpstr>
    </vt:vector>
  </TitlesOfParts>
  <Company>TxDO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xDOT</dc:creator>
  <cp:lastModifiedBy>Michael Zugelder</cp:lastModifiedBy>
  <cp:revision>28</cp:revision>
  <cp:lastPrinted>2013-02-21T15:21:56Z</cp:lastPrinted>
  <dcterms:created xsi:type="dcterms:W3CDTF">2015-04-22T14:54:35Z</dcterms:created>
  <dcterms:modified xsi:type="dcterms:W3CDTF">2016-03-04T03:11:07Z</dcterms:modified>
</cp:coreProperties>
</file>